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45-4618-A3C6-654213004B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45-4618-A3C6-654213004B6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 w="25372"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10</c:v>
                </c:pt>
                <c:pt idx="1">
                  <c:v>11</c:v>
                </c:pt>
                <c:pt idx="2">
                  <c:v>30</c:v>
                </c:pt>
                <c:pt idx="3">
                  <c:v>10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45-4618-A3C6-654213004B6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 w="25372"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12</c:v>
                </c:pt>
                <c:pt idx="1">
                  <c:v>15</c:v>
                </c:pt>
                <c:pt idx="2">
                  <c:v>20</c:v>
                </c:pt>
                <c:pt idx="3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45-4618-A3C6-654213004B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3318287"/>
        <c:axId val="1"/>
      </c:areaChart>
      <c:dateAx>
        <c:axId val="1363318287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14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months"/>
      </c:date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3318287"/>
        <c:crosses val="autoZero"/>
        <c:crossBetween val="midCat"/>
      </c:valAx>
      <c:spPr>
        <a:noFill/>
        <a:ln w="25372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825</cdr:x>
      <cdr:y>0.62292</cdr:y>
    </cdr:from>
    <cdr:to>
      <cdr:x>0.21294</cdr:x>
      <cdr:y>0.73484</cdr:y>
    </cdr:to>
    <cdr:sp macro="" textlink="">
      <cdr:nvSpPr>
        <cdr:cNvPr id="2" name="Oval 1"/>
        <cdr:cNvSpPr/>
      </cdr:nvSpPr>
      <cdr:spPr>
        <a:xfrm xmlns:a="http://schemas.openxmlformats.org/drawingml/2006/main">
          <a:off x="1908693" y="2482120"/>
          <a:ext cx="506967" cy="445959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39975</cdr:x>
      <cdr:y>0.33147</cdr:y>
    </cdr:from>
    <cdr:to>
      <cdr:x>0.44444</cdr:x>
      <cdr:y>0.44339</cdr:y>
    </cdr:to>
    <cdr:sp macro="" textlink="">
      <cdr:nvSpPr>
        <cdr:cNvPr id="3" name="Oval 2"/>
        <cdr:cNvSpPr/>
      </cdr:nvSpPr>
      <cdr:spPr>
        <a:xfrm xmlns:a="http://schemas.openxmlformats.org/drawingml/2006/main">
          <a:off x="4534773" y="1320800"/>
          <a:ext cx="506968" cy="445959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61871</cdr:x>
      <cdr:y>0.27551</cdr:y>
    </cdr:from>
    <cdr:to>
      <cdr:x>0.66315</cdr:x>
      <cdr:y>0.38743</cdr:y>
    </cdr:to>
    <cdr:sp macro="" textlink="">
      <cdr:nvSpPr>
        <cdr:cNvPr id="4" name="Oval 3"/>
        <cdr:cNvSpPr/>
      </cdr:nvSpPr>
      <cdr:spPr>
        <a:xfrm xmlns:a="http://schemas.openxmlformats.org/drawingml/2006/main">
          <a:off x="7018685" y="1097820"/>
          <a:ext cx="504133" cy="445959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4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A94B97-6995-3061-7AB6-58EFFD536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5B0F0AB-443E-9626-9D60-392680D745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0F0AB-443E-9626-9D60-392680D74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8B23DC-A2F1-1F98-907F-5D3093CE7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rea</a:t>
            </a:r>
          </a:p>
        </p:txBody>
      </p:sp>
      <p:graphicFrame>
        <p:nvGraphicFramePr>
          <p:cNvPr id="43" name="Chart 50">
            <a:extLst>
              <a:ext uri="{FF2B5EF4-FFF2-40B4-BE49-F238E27FC236}">
                <a16:creationId xmlns:a16="http://schemas.microsoft.com/office/drawing/2014/main" id="{60A082CF-BFF6-A62E-CFB7-22DECFBEE189}"/>
              </a:ext>
            </a:extLst>
          </p:cNvPr>
          <p:cNvGraphicFramePr>
            <a:graphicFrameLocks/>
          </p:cNvGraphicFramePr>
          <p:nvPr/>
        </p:nvGraphicFramePr>
        <p:xfrm>
          <a:off x="419098" y="2581275"/>
          <a:ext cx="11344109" cy="3984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4" name="Oval 43">
            <a:extLst>
              <a:ext uri="{FF2B5EF4-FFF2-40B4-BE49-F238E27FC236}">
                <a16:creationId xmlns:a16="http://schemas.microsoft.com/office/drawing/2014/main" id="{38FEBC79-DBF9-2B21-836E-F9EB133BA951}"/>
              </a:ext>
            </a:extLst>
          </p:cNvPr>
          <p:cNvSpPr/>
          <p:nvPr/>
        </p:nvSpPr>
        <p:spPr>
          <a:xfrm>
            <a:off x="9459606" y="4748213"/>
            <a:ext cx="446087" cy="446087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B586FB2-31BB-61A4-848A-D37C615825DB}"/>
              </a:ext>
            </a:extLst>
          </p:cNvPr>
          <p:cNvCxnSpPr/>
          <p:nvPr/>
        </p:nvCxnSpPr>
        <p:spPr>
          <a:xfrm>
            <a:off x="9693275" y="2525713"/>
            <a:ext cx="0" cy="255587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1889187A-85CD-A3BB-F717-501509FD56A4}"/>
              </a:ext>
            </a:extLst>
          </p:cNvPr>
          <p:cNvCxnSpPr/>
          <p:nvPr/>
        </p:nvCxnSpPr>
        <p:spPr>
          <a:xfrm>
            <a:off x="7689850" y="2497138"/>
            <a:ext cx="0" cy="151130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8E66D4C-0EE0-2CF9-B05B-E428BA8601E1}"/>
              </a:ext>
            </a:extLst>
          </p:cNvPr>
          <p:cNvCxnSpPr/>
          <p:nvPr/>
        </p:nvCxnSpPr>
        <p:spPr>
          <a:xfrm>
            <a:off x="2581275" y="2408238"/>
            <a:ext cx="0" cy="298767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3CDD008-0DB4-48EB-677C-4E3BBD6860DD}"/>
              </a:ext>
            </a:extLst>
          </p:cNvPr>
          <p:cNvCxnSpPr/>
          <p:nvPr/>
        </p:nvCxnSpPr>
        <p:spPr>
          <a:xfrm>
            <a:off x="5197475" y="2497138"/>
            <a:ext cx="0" cy="172720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57">
            <a:extLst>
              <a:ext uri="{FF2B5EF4-FFF2-40B4-BE49-F238E27FC236}">
                <a16:creationId xmlns:a16="http://schemas.microsoft.com/office/drawing/2014/main" id="{5EB35A8B-BDAA-BD04-4454-B41F5305915D}"/>
              </a:ext>
            </a:extLst>
          </p:cNvPr>
          <p:cNvGrpSpPr>
            <a:grpSpLocks/>
          </p:cNvGrpSpPr>
          <p:nvPr/>
        </p:nvGrpSpPr>
        <p:grpSpPr bwMode="auto">
          <a:xfrm>
            <a:off x="2062470" y="1571625"/>
            <a:ext cx="1057275" cy="1009650"/>
            <a:chOff x="2499360" y="1439593"/>
            <a:chExt cx="1056640" cy="1008993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4227C39-A843-1E30-CB13-494DF3E47C3C}"/>
                </a:ext>
              </a:extLst>
            </p:cNvPr>
            <p:cNvSpPr/>
            <p:nvPr/>
          </p:nvSpPr>
          <p:spPr>
            <a:xfrm>
              <a:off x="2499360" y="1439593"/>
              <a:ext cx="1056640" cy="71073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3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1" name="Isosceles Triangle 50">
              <a:extLst>
                <a:ext uri="{FF2B5EF4-FFF2-40B4-BE49-F238E27FC236}">
                  <a16:creationId xmlns:a16="http://schemas.microsoft.com/office/drawing/2014/main" id="{B6E96D5D-8983-53A5-0FBE-53CB22C8CD3E}"/>
                </a:ext>
              </a:extLst>
            </p:cNvPr>
            <p:cNvSpPr/>
            <p:nvPr/>
          </p:nvSpPr>
          <p:spPr>
            <a:xfrm flipV="1">
              <a:off x="2854746" y="2150330"/>
              <a:ext cx="345867" cy="298256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64ECE9-0692-A218-5475-A8B566574AB9}"/>
              </a:ext>
            </a:extLst>
          </p:cNvPr>
          <p:cNvGrpSpPr/>
          <p:nvPr/>
        </p:nvGrpSpPr>
        <p:grpSpPr>
          <a:xfrm>
            <a:off x="9174152" y="1564989"/>
            <a:ext cx="1056640" cy="1008993"/>
            <a:chOff x="2499360" y="1439593"/>
            <a:chExt cx="1056640" cy="1008993"/>
          </a:xfrm>
          <a:solidFill>
            <a:schemeClr val="accent2"/>
          </a:solidFill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FB4CA75-0820-D4A3-AE93-E8F1D042F244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9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9BD27A41-9C1F-00AD-9D9B-48AE0BDC1D72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C121A66-004A-2EAC-DD9A-AC1A94638FC9}"/>
              </a:ext>
            </a:extLst>
          </p:cNvPr>
          <p:cNvGrpSpPr/>
          <p:nvPr/>
        </p:nvGrpSpPr>
        <p:grpSpPr>
          <a:xfrm>
            <a:off x="4679035" y="1548344"/>
            <a:ext cx="1056640" cy="1008993"/>
            <a:chOff x="2499360" y="1439593"/>
            <a:chExt cx="1056640" cy="1008993"/>
          </a:xfrm>
          <a:solidFill>
            <a:schemeClr val="accent3"/>
          </a:solidFill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72BB8B6-D57D-8475-FC7D-6D9337CC8826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9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C6DC261D-BBAA-18BA-2F07-3FEDBB519047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05FDCA2-CD87-C2CA-9FFC-C4C67771B3DB}"/>
              </a:ext>
            </a:extLst>
          </p:cNvPr>
          <p:cNvGrpSpPr/>
          <p:nvPr/>
        </p:nvGrpSpPr>
        <p:grpSpPr>
          <a:xfrm>
            <a:off x="7152877" y="1548344"/>
            <a:ext cx="1056640" cy="1008993"/>
            <a:chOff x="2499360" y="1439593"/>
            <a:chExt cx="1056640" cy="1008993"/>
          </a:xfrm>
          <a:solidFill>
            <a:schemeClr val="accent4"/>
          </a:solidFill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4EC0244-BA22-F77A-9B7C-7CD14221F9CB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9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61" name="Isosceles Triangle 60">
              <a:extLst>
                <a:ext uri="{FF2B5EF4-FFF2-40B4-BE49-F238E27FC236}">
                  <a16:creationId xmlns:a16="http://schemas.microsoft.com/office/drawing/2014/main" id="{5B417FD9-7F29-AA3A-F89F-3A4AF78666C3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8601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7</TotalTime>
  <Words>9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Ar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94</cp:revision>
  <dcterms:created xsi:type="dcterms:W3CDTF">2021-03-31T02:49:57Z</dcterms:created>
  <dcterms:modified xsi:type="dcterms:W3CDTF">2025-10-16T11:32:27Z</dcterms:modified>
  <cp:category/>
</cp:coreProperties>
</file>